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86" d="100"/>
          <a:sy n="86" d="100"/>
        </p:scale>
        <p:origin x="557" y="58"/>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05/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05/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Shao </a:t>
            </a:r>
            <a:r>
              <a:rPr lang="en-US" dirty="0" err="1"/>
              <a:t>ZhiJun</a:t>
            </a:r>
            <a:endParaRPr lang="en-US" dirty="0"/>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3.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083</TotalTime>
  <Words>3758</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Ziyang Shao</cp:lastModifiedBy>
  <cp:revision>74</cp:revision>
  <cp:lastPrinted>2000-01-01T00:00:00Z</cp:lastPrinted>
  <dcterms:created xsi:type="dcterms:W3CDTF">2022-01-15T17:28:45Z</dcterms:created>
  <dcterms:modified xsi:type="dcterms:W3CDTF">2024-05-23T15:59:26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